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46" d="100"/>
          <a:sy n="46" d="100"/>
        </p:scale>
        <p:origin x="58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0" indent="0">
              <a:buNone/>
              <a:defRPr/>
            </a:lvl2pPr>
            <a:lvl4pPr marL="715962" indent="0">
              <a:buNone/>
              <a:defRPr/>
            </a:lvl4pPr>
            <a:lvl5pPr marL="1001712" indent="0">
              <a:buNone/>
              <a:defRPr/>
            </a:lvl5pPr>
          </a:lstStyle>
          <a:p>
            <a:pPr lvl="1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67A10-E48D-48DC-B8F1-7E91AACA70F7}" type="datetimeFigureOut">
              <a:rPr lang="de-CH" smtClean="0"/>
              <a:t>01.03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08672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72" imgH="369" progId="TCLayout.ActiveDocument.1">
                  <p:embed/>
                </p:oleObj>
              </mc:Choice>
              <mc:Fallback>
                <p:oleObj name="think-cell Folie" r:id="rId5" imgW="372" imgH="3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547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200" b="1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66700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47675" indent="-180975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00125" indent="-284163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14450" indent="-312738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7716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7pPr>
      <a:lvl8pPr marL="26860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312738" algn="l" rtl="0" fontAlgn="base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Gerade Verbindung mit Pfeil 61"/>
          <p:cNvCxnSpPr/>
          <p:nvPr/>
        </p:nvCxnSpPr>
        <p:spPr>
          <a:xfrm>
            <a:off x="2280122" y="5012382"/>
            <a:ext cx="3311822" cy="0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/>
          <p:nvPr/>
        </p:nvCxnSpPr>
        <p:spPr>
          <a:xfrm flipV="1">
            <a:off x="2280122" y="1628007"/>
            <a:ext cx="0" cy="3355021"/>
          </a:xfrm>
          <a:prstGeom prst="straightConnector1">
            <a:avLst/>
          </a:prstGeom>
          <a:ln w="4127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1453153" y="1340769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bability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5569084" y="4858494"/>
            <a:ext cx="1656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verity</a:t>
            </a:r>
            <a:endParaRPr kumimoji="0" lang="de-CH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2355023" y="4040374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2355023" y="3104370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355023" y="2168366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3329923" y="4039082"/>
            <a:ext cx="900000" cy="90000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3329923" y="3103078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329923" y="2167074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06588" y="4040374"/>
            <a:ext cx="900000" cy="900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06588" y="3104370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4306588" y="2168366"/>
            <a:ext cx="900000" cy="90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631505" y="2463186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1631505" y="4346572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1631505" y="3394394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25007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f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475609" y="5041739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tel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4446734" y="5041738"/>
            <a:ext cx="60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ch</a:t>
            </a:r>
          </a:p>
        </p:txBody>
      </p:sp>
      <p:sp>
        <p:nvSpPr>
          <p:cNvPr id="81" name="Ellipse 80"/>
          <p:cNvSpPr/>
          <p:nvPr/>
        </p:nvSpPr>
        <p:spPr>
          <a:xfrm>
            <a:off x="4807689" y="4366348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2" name="Ellipse 81"/>
          <p:cNvSpPr/>
          <p:nvPr/>
        </p:nvSpPr>
        <p:spPr>
          <a:xfrm>
            <a:off x="2661022" y="3388048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83" name="Ellipse 82"/>
          <p:cNvSpPr/>
          <p:nvPr/>
        </p:nvSpPr>
        <p:spPr>
          <a:xfrm>
            <a:off x="4390731" y="4371889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84" name="Ellipse 83"/>
          <p:cNvSpPr/>
          <p:nvPr/>
        </p:nvSpPr>
        <p:spPr>
          <a:xfrm>
            <a:off x="3635922" y="3388048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85" name="Ellipse 84"/>
          <p:cNvSpPr/>
          <p:nvPr/>
        </p:nvSpPr>
        <p:spPr>
          <a:xfrm>
            <a:off x="6788791" y="1965757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</a:p>
        </p:txBody>
      </p:sp>
      <p:sp>
        <p:nvSpPr>
          <p:cNvPr id="86" name="Ellipse 85"/>
          <p:cNvSpPr/>
          <p:nvPr/>
        </p:nvSpPr>
        <p:spPr>
          <a:xfrm>
            <a:off x="6788791" y="2909555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87" name="Ellipse 86"/>
          <p:cNvSpPr/>
          <p:nvPr/>
        </p:nvSpPr>
        <p:spPr>
          <a:xfrm>
            <a:off x="6788791" y="3853353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88" name="Ellipse 87"/>
          <p:cNvSpPr/>
          <p:nvPr/>
        </p:nvSpPr>
        <p:spPr>
          <a:xfrm>
            <a:off x="6788791" y="4797151"/>
            <a:ext cx="288000" cy="288000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7072188" y="1916832"/>
            <a:ext cx="31594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uri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 treten </a:t>
            </a: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cherheitslückenauf</a:t>
            </a:r>
            <a:endParaRPr kumimoji="0" lang="de-CH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7072188" y="2865908"/>
            <a:ext cx="31594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htliche Anforderung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urch rechtliche Anforderungen können gewisse Features nicht umgesetzt werden</a:t>
            </a:r>
            <a:endParaRPr kumimoji="0" lang="de-CH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072188" y="3814984"/>
            <a:ext cx="3159409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-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</a:t>
            </a: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</a:t>
            </a:r>
            <a:r>
              <a:rPr kumimoji="0" lang="de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ket</a:t>
            </a:r>
            <a:endParaRPr kumimoji="0" lang="de-CH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in Konkurrenzangebot kommt schneller auf den Mark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Textfeld 91"/>
          <p:cNvSpPr txBox="1"/>
          <p:nvPr/>
        </p:nvSpPr>
        <p:spPr>
          <a:xfrm>
            <a:off x="7072188" y="4764060"/>
            <a:ext cx="31594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tzerzahlen zu tief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 wird nicht genutzt und der Betrieb rentiert sich dadurch nicht</a:t>
            </a:r>
            <a:endParaRPr kumimoji="0" lang="de-CH" sz="2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15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wissLife_German">
  <a:themeElements>
    <a:clrScheme name="Standarddesign 1">
      <a:dk1>
        <a:srgbClr val="000000"/>
      </a:dk1>
      <a:lt1>
        <a:srgbClr val="FFFFFF"/>
      </a:lt1>
      <a:dk2>
        <a:srgbClr val="C8C8C8"/>
      </a:dk2>
      <a:lt2>
        <a:srgbClr val="D9A4AF"/>
      </a:lt2>
      <a:accent1>
        <a:srgbClr val="A11C36"/>
      </a:accent1>
      <a:accent2>
        <a:srgbClr val="8C8C8C"/>
      </a:accent2>
      <a:accent3>
        <a:srgbClr val="FFFFFF"/>
      </a:accent3>
      <a:accent4>
        <a:srgbClr val="000000"/>
      </a:accent4>
      <a:accent5>
        <a:srgbClr val="CDABAE"/>
      </a:accent5>
      <a:accent6>
        <a:srgbClr val="7E7E7E"/>
      </a:accent6>
      <a:hlink>
        <a:srgbClr val="E8E199"/>
      </a:hlink>
      <a:folHlink>
        <a:srgbClr val="D82034"/>
      </a:folHlink>
    </a:clrScheme>
    <a:fontScheme name="1_SwissLife_Germa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C8C8C8"/>
        </a:dk2>
        <a:lt2>
          <a:srgbClr val="D9A4AF"/>
        </a:lt2>
        <a:accent1>
          <a:srgbClr val="A11C36"/>
        </a:accent1>
        <a:accent2>
          <a:srgbClr val="8C8C8C"/>
        </a:accent2>
        <a:accent3>
          <a:srgbClr val="FFFFFF"/>
        </a:accent3>
        <a:accent4>
          <a:srgbClr val="000000"/>
        </a:accent4>
        <a:accent5>
          <a:srgbClr val="CDABAE"/>
        </a:accent5>
        <a:accent6>
          <a:srgbClr val="7E7E7E"/>
        </a:accent6>
        <a:hlink>
          <a:srgbClr val="E8E199"/>
        </a:hlink>
        <a:folHlink>
          <a:srgbClr val="D820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</Words>
  <Application>Microsoft Office PowerPoint</Application>
  <PresentationFormat>Breitbild</PresentationFormat>
  <Paragraphs>2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1_SwissLife_German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nas Matter</dc:creator>
  <cp:lastModifiedBy>Jonas Matter</cp:lastModifiedBy>
  <cp:revision>1</cp:revision>
  <dcterms:created xsi:type="dcterms:W3CDTF">2017-03-01T17:35:08Z</dcterms:created>
  <dcterms:modified xsi:type="dcterms:W3CDTF">2017-03-01T17:40:31Z</dcterms:modified>
</cp:coreProperties>
</file>